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D2BB5C-4A32-4EB9-B311-5384FF71DE04}" v="3" dt="2024-08-30T15:12:23.8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ma, Sakshi SBOBNG-PTIY/AEA" userId="bc16ed95-f24e-4b35-a7dc-fac641a5bdfb" providerId="ADAL" clId="{ACD2BB5C-4A32-4EB9-B311-5384FF71DE04}"/>
    <pc:docChg chg="undo redo custSel modSld">
      <pc:chgData name="Sharma, Sakshi SBOBNG-PTIY/AEA" userId="bc16ed95-f24e-4b35-a7dc-fac641a5bdfb" providerId="ADAL" clId="{ACD2BB5C-4A32-4EB9-B311-5384FF71DE04}" dt="2024-08-30T15:12:33.814" v="1853" actId="1076"/>
      <pc:docMkLst>
        <pc:docMk/>
      </pc:docMkLst>
      <pc:sldChg chg="addSp modSp mod">
        <pc:chgData name="Sharma, Sakshi SBOBNG-PTIY/AEA" userId="bc16ed95-f24e-4b35-a7dc-fac641a5bdfb" providerId="ADAL" clId="{ACD2BB5C-4A32-4EB9-B311-5384FF71DE04}" dt="2024-08-30T15:11:46.253" v="1844" actId="27614"/>
        <pc:sldMkLst>
          <pc:docMk/>
          <pc:sldMk cId="3233747587" sldId="2147375601"/>
        </pc:sldMkLst>
        <pc:spChg chg="mod">
          <ac:chgData name="Sharma, Sakshi SBOBNG-PTIY/AEA" userId="bc16ed95-f24e-4b35-a7dc-fac641a5bdfb" providerId="ADAL" clId="{ACD2BB5C-4A32-4EB9-B311-5384FF71DE04}" dt="2024-08-30T14:44:14.744" v="424" actId="20577"/>
          <ac:spMkLst>
            <pc:docMk/>
            <pc:sldMk cId="3233747587" sldId="2147375601"/>
            <ac:spMk id="11" creationId="{DE9F1BE0-7910-FA1B-DCE8-56EFD1E4FC09}"/>
          </ac:spMkLst>
        </pc:spChg>
        <pc:spChg chg="mod">
          <ac:chgData name="Sharma, Sakshi SBOBNG-PTIY/AEA" userId="bc16ed95-f24e-4b35-a7dc-fac641a5bdfb" providerId="ADAL" clId="{ACD2BB5C-4A32-4EB9-B311-5384FF71DE04}" dt="2024-08-30T15:11:38.416" v="1840" actId="20577"/>
          <ac:spMkLst>
            <pc:docMk/>
            <pc:sldMk cId="3233747587" sldId="2147375601"/>
            <ac:spMk id="12" creationId="{E53E5C3F-4D2B-B85F-E592-E58E032C664C}"/>
          </ac:spMkLst>
        </pc:spChg>
        <pc:picChg chg="add mod">
          <ac:chgData name="Sharma, Sakshi SBOBNG-PTIY/AEA" userId="bc16ed95-f24e-4b35-a7dc-fac641a5bdfb" providerId="ADAL" clId="{ACD2BB5C-4A32-4EB9-B311-5384FF71DE04}" dt="2024-08-30T15:11:46.253" v="1844" actId="27614"/>
          <ac:picMkLst>
            <pc:docMk/>
            <pc:sldMk cId="3233747587" sldId="2147375601"/>
            <ac:picMk id="5" creationId="{073E0F21-1919-6852-1A79-9EC186809885}"/>
          </ac:picMkLst>
        </pc:picChg>
      </pc:sldChg>
      <pc:sldChg chg="addSp modSp mod">
        <pc:chgData name="Sharma, Sakshi SBOBNG-PTIY/AEA" userId="bc16ed95-f24e-4b35-a7dc-fac641a5bdfb" providerId="ADAL" clId="{ACD2BB5C-4A32-4EB9-B311-5384FF71DE04}" dt="2024-08-30T15:08:29.659" v="1839" actId="1076"/>
        <pc:sldMkLst>
          <pc:docMk/>
          <pc:sldMk cId="86366928" sldId="2147375605"/>
        </pc:sldMkLst>
        <pc:spChg chg="mod">
          <ac:chgData name="Sharma, Sakshi SBOBNG-PTIY/AEA" userId="bc16ed95-f24e-4b35-a7dc-fac641a5bdfb" providerId="ADAL" clId="{ACD2BB5C-4A32-4EB9-B311-5384FF71DE04}" dt="2024-08-30T14:50:44.900" v="791" actId="20577"/>
          <ac:spMkLst>
            <pc:docMk/>
            <pc:sldMk cId="86366928" sldId="2147375605"/>
            <ac:spMk id="11" creationId="{DE9F1BE0-7910-FA1B-DCE8-56EFD1E4FC09}"/>
          </ac:spMkLst>
        </pc:spChg>
        <pc:spChg chg="mod">
          <ac:chgData name="Sharma, Sakshi SBOBNG-PTIY/AEA" userId="bc16ed95-f24e-4b35-a7dc-fac641a5bdfb" providerId="ADAL" clId="{ACD2BB5C-4A32-4EB9-B311-5384FF71DE04}" dt="2024-08-30T15:08:09.490" v="1832" actId="20577"/>
          <ac:spMkLst>
            <pc:docMk/>
            <pc:sldMk cId="86366928" sldId="2147375605"/>
            <ac:spMk id="12" creationId="{E53E5C3F-4D2B-B85F-E592-E58E032C664C}"/>
          </ac:spMkLst>
        </pc:spChg>
        <pc:picChg chg="add mod">
          <ac:chgData name="Sharma, Sakshi SBOBNG-PTIY/AEA" userId="bc16ed95-f24e-4b35-a7dc-fac641a5bdfb" providerId="ADAL" clId="{ACD2BB5C-4A32-4EB9-B311-5384FF71DE04}" dt="2024-08-30T15:08:29.659" v="1839" actId="1076"/>
          <ac:picMkLst>
            <pc:docMk/>
            <pc:sldMk cId="86366928" sldId="2147375605"/>
            <ac:picMk id="6" creationId="{CBEB6DFC-1423-A9D7-0F70-045FDF2EFD39}"/>
          </ac:picMkLst>
        </pc:picChg>
      </pc:sldChg>
      <pc:sldChg chg="addSp modSp mod">
        <pc:chgData name="Sharma, Sakshi SBOBNG-PTIY/AEA" userId="bc16ed95-f24e-4b35-a7dc-fac641a5bdfb" providerId="ADAL" clId="{ACD2BB5C-4A32-4EB9-B311-5384FF71DE04}" dt="2024-08-30T15:12:33.814" v="1853" actId="1076"/>
        <pc:sldMkLst>
          <pc:docMk/>
          <pc:sldMk cId="3070204084" sldId="2147375609"/>
        </pc:sldMkLst>
        <pc:spChg chg="mod">
          <ac:chgData name="Sharma, Sakshi SBOBNG-PTIY/AEA" userId="bc16ed95-f24e-4b35-a7dc-fac641a5bdfb" providerId="ADAL" clId="{ACD2BB5C-4A32-4EB9-B311-5384FF71DE04}" dt="2024-08-30T14:53:58.365" v="1239" actId="20577"/>
          <ac:spMkLst>
            <pc:docMk/>
            <pc:sldMk cId="3070204084" sldId="2147375609"/>
            <ac:spMk id="11" creationId="{DE9F1BE0-7910-FA1B-DCE8-56EFD1E4FC09}"/>
          </ac:spMkLst>
        </pc:spChg>
        <pc:spChg chg="mod">
          <ac:chgData name="Sharma, Sakshi SBOBNG-PTIY/AEA" userId="bc16ed95-f24e-4b35-a7dc-fac641a5bdfb" providerId="ADAL" clId="{ACD2BB5C-4A32-4EB9-B311-5384FF71DE04}" dt="2024-08-30T15:11:53.661" v="1846" actId="20577"/>
          <ac:spMkLst>
            <pc:docMk/>
            <pc:sldMk cId="3070204084" sldId="2147375609"/>
            <ac:spMk id="12" creationId="{E53E5C3F-4D2B-B85F-E592-E58E032C664C}"/>
          </ac:spMkLst>
        </pc:spChg>
        <pc:picChg chg="add mod">
          <ac:chgData name="Sharma, Sakshi SBOBNG-PTIY/AEA" userId="bc16ed95-f24e-4b35-a7dc-fac641a5bdfb" providerId="ADAL" clId="{ACD2BB5C-4A32-4EB9-B311-5384FF71DE04}" dt="2024-08-30T15:12:33.814" v="1853" actId="1076"/>
          <ac:picMkLst>
            <pc:docMk/>
            <pc:sldMk cId="3070204084" sldId="2147375609"/>
            <ac:picMk id="6" creationId="{EF8A9FD6-F5A1-FA35-DBDD-FD7EB62202C1}"/>
          </ac:picMkLst>
        </pc:picChg>
      </pc:sldChg>
      <pc:sldChg chg="modSp mod">
        <pc:chgData name="Sharma, Sakshi SBOBNG-PTIY/AEA" userId="bc16ed95-f24e-4b35-a7dc-fac641a5bdfb" providerId="ADAL" clId="{ACD2BB5C-4A32-4EB9-B311-5384FF71DE04}" dt="2024-08-30T15:01:24.424" v="1831" actId="20577"/>
        <pc:sldMkLst>
          <pc:docMk/>
          <pc:sldMk cId="3865850111" sldId="2147375614"/>
        </pc:sldMkLst>
        <pc:spChg chg="mod">
          <ac:chgData name="Sharma, Sakshi SBOBNG-PTIY/AEA" userId="bc16ed95-f24e-4b35-a7dc-fac641a5bdfb" providerId="ADAL" clId="{ACD2BB5C-4A32-4EB9-B311-5384FF71DE04}" dt="2024-08-30T15:01:24.424" v="1831" actId="20577"/>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akshi Sharm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evaluates the technical and financial aspects for each project and then design optimal solutions.</a:t>
            </a:r>
          </a:p>
          <a:p>
            <a:pPr marL="0" indent="0">
              <a:buNone/>
            </a:pPr>
            <a:endParaRPr lang="en-US" sz="2000" dirty="0"/>
          </a:p>
          <a:p>
            <a:pPr marL="0" indent="0">
              <a:buNone/>
            </a:pPr>
            <a:r>
              <a:rPr lang="en-US" sz="2000" dirty="0"/>
              <a:t>Shell benefits from these as conducting a thorough requirement analysis leads to project efficiency and cost savings which ultimately enhances company’s repu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CBEB6DFC-1423-A9D7-0F70-045FDF2EFD3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62855" y="2568145"/>
            <a:ext cx="5026594" cy="2445370"/>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aving a positive attitude is one of the important attributes of professional mannerism but I tend to have negative thoughts from time to time. I plan to overcome them by interacting more with people who support me and read motivational book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book cover with a yellow and blue background&#10;&#10;Description automatically generated">
            <a:extLst>
              <a:ext uri="{FF2B5EF4-FFF2-40B4-BE49-F238E27FC236}">
                <a16:creationId xmlns:a16="http://schemas.microsoft.com/office/drawing/2014/main" id="{8D28572F-6C86-B6C1-39F2-74AA10365AE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823263" y="1991143"/>
            <a:ext cx="2505777" cy="3815940"/>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Understanding the level of importance of different stakeholders was challenging for me. I plan to overcome this by first identifying the type of stakeholder and carefully formulating a communication plan according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2B2295A2-16B4-03BA-0E96-11E417A88033}"/>
              </a:ext>
            </a:extLst>
          </p:cNvPr>
          <p:cNvPicPr>
            <a:picLocks noChangeAspect="1"/>
          </p:cNvPicPr>
          <p:nvPr/>
        </p:nvPicPr>
        <p:blipFill>
          <a:blip r:embed="rId7"/>
          <a:stretch>
            <a:fillRect/>
          </a:stretch>
        </p:blipFill>
        <p:spPr>
          <a:xfrm>
            <a:off x="7676816" y="2030726"/>
            <a:ext cx="2798671" cy="3736773"/>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e main challenge faced by me and my team was during an activity where we were given the task to make paper airplanes. We immediately assumed the customer needs and started working on the task. We overcame this by having a thorough discussion with our teacher and first analyzing what exactly are the requirements of this projec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notebook with writing on it&#10;&#10;Description automatically generated">
            <a:extLst>
              <a:ext uri="{FF2B5EF4-FFF2-40B4-BE49-F238E27FC236}">
                <a16:creationId xmlns:a16="http://schemas.microsoft.com/office/drawing/2014/main" id="{EF8A9FD6-F5A1-FA35-DBDD-FD7EB62202C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7158453" y="2460840"/>
            <a:ext cx="3835396" cy="287654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nteracting with my peers and team members. </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etting up GTKYs with Shell employees and learning about their experienc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plan to implement these actions right away and aim to build a good network in Shell within the next 2 to 3 months.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et a few members from my Line of Business including my line manager and Buddy.</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83133" y="1963817"/>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Our facilitator for Soft Skills, Dr. </a:t>
            </a:r>
            <a:r>
              <a:rPr lang="en-US" sz="2000" dirty="0" err="1"/>
              <a:t>Padmshree</a:t>
            </a:r>
            <a:r>
              <a:rPr lang="en-US" sz="2000" dirty="0"/>
              <a:t> conducted the sessions in fun manner while at the same time educating us.</a:t>
            </a:r>
          </a:p>
          <a:p>
            <a:r>
              <a:rPr lang="en-US" sz="2000" dirty="0"/>
              <a:t>We did a couple of role plays to understand Mobile etiquettes and Stakeholder Management.</a:t>
            </a:r>
          </a:p>
          <a:p>
            <a:r>
              <a:rPr lang="en-US" sz="2000" dirty="0"/>
              <a:t>To understand team work, we played a number game where you need to count to 10 but the order of people calling out numbers is random and if two people say the same number at the same time we needed to start again from 1. This incident turned out to be really funny as initially we were really struggling to even count to ten.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4D761596-BCAD-BCF9-2E01-385D3A2ABC16}"/>
              </a:ext>
            </a:extLst>
          </p:cNvPr>
          <p:cNvPicPr>
            <a:picLocks noChangeAspect="1"/>
          </p:cNvPicPr>
          <p:nvPr/>
        </p:nvPicPr>
        <p:blipFill>
          <a:blip r:embed="rId7"/>
          <a:stretch>
            <a:fillRect/>
          </a:stretch>
        </p:blipFill>
        <p:spPr>
          <a:xfrm>
            <a:off x="6557983" y="2170030"/>
            <a:ext cx="2749646" cy="3663813"/>
          </a:xfrm>
          <a:prstGeom prst="rect">
            <a:avLst/>
          </a:prstGeom>
        </p:spPr>
      </p:pic>
      <p:sp>
        <p:nvSpPr>
          <p:cNvPr id="8" name="TextBox 7">
            <a:extLst>
              <a:ext uri="{FF2B5EF4-FFF2-40B4-BE49-F238E27FC236}">
                <a16:creationId xmlns:a16="http://schemas.microsoft.com/office/drawing/2014/main" id="{FB83C425-4D93-2ED2-ED75-AC25233236DD}"/>
              </a:ext>
            </a:extLst>
          </p:cNvPr>
          <p:cNvSpPr txBox="1"/>
          <p:nvPr/>
        </p:nvSpPr>
        <p:spPr>
          <a:xfrm>
            <a:off x="9307629" y="3263272"/>
            <a:ext cx="2401238" cy="1477328"/>
          </a:xfrm>
          <a:prstGeom prst="rect">
            <a:avLst/>
          </a:prstGeom>
          <a:noFill/>
        </p:spPr>
        <p:txBody>
          <a:bodyPr wrap="square" rtlCol="0">
            <a:spAutoFit/>
          </a:bodyPr>
          <a:lstStyle/>
          <a:p>
            <a:r>
              <a:rPr lang="en-US" dirty="0"/>
              <a:t>My teammate performing in a roleplay for stakeholder management</a:t>
            </a:r>
          </a:p>
        </p:txBody>
      </p:sp>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This week was full of fun activities which taught us basic soft skills needed to thrive in a workplace. Along with that we started our foundational training and learnt about importance of requirement analysis.</a:t>
            </a:r>
          </a:p>
          <a:p>
            <a:pPr>
              <a:lnSpc>
                <a:spcPct val="100000"/>
              </a:lnSpc>
            </a:pPr>
            <a:r>
              <a:rPr lang="en-US" sz="1800" dirty="0"/>
              <a:t>The topics that will be covered in the upcoming week include hands on training on Azure </a:t>
            </a:r>
            <a:r>
              <a:rPr lang="en-US" sz="1800" dirty="0" err="1"/>
              <a:t>Devops</a:t>
            </a:r>
            <a:r>
              <a:rPr lang="en-US" sz="1800" dirty="0"/>
              <a:t>.  </a:t>
            </a:r>
          </a:p>
          <a:p>
            <a:pPr>
              <a:lnSpc>
                <a:spcPct val="100000"/>
              </a:lnSpc>
            </a:pPr>
            <a:r>
              <a:rPr lang="en-US" sz="1800" dirty="0"/>
              <a:t>This week we learnt about SCRUM and we will be implementing the same next week.</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Do the best you can, with what you hav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cartoon character with blue hair&#10;&#10;Description automatically generated">
            <a:extLst>
              <a:ext uri="{FF2B5EF4-FFF2-40B4-BE49-F238E27FC236}">
                <a16:creationId xmlns:a16="http://schemas.microsoft.com/office/drawing/2014/main" id="{C6D6BDBE-BB1D-626C-D719-5499321BFDB1}"/>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055492" y="1914055"/>
            <a:ext cx="2200622" cy="3911606"/>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We had a soft skills session on Professionalism, Grooming and Email writing etiquettes.</a:t>
            </a:r>
          </a:p>
          <a:p>
            <a:r>
              <a:rPr lang="en-US" sz="2000" dirty="0"/>
              <a:t>Key learning- Corporate grooming and Professional qualities like integrity and new world imperatives.</a:t>
            </a:r>
          </a:p>
          <a:p>
            <a:r>
              <a:rPr lang="en-US" sz="2000" dirty="0"/>
              <a:t>Key takeaway- Appropriate mannerism and presenting yourself professionally is of utmost importance to maintain a healthy environment in a company.</a:t>
            </a:r>
          </a:p>
          <a:p>
            <a:r>
              <a:rPr lang="en-US" sz="2000" dirty="0"/>
              <a:t>Energy sector just like any other sector requires communication with multiple people from different departments so presenting yourself appropriately is essential.</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7966DA5D-563B-CE8E-600B-E1271AE51D36}"/>
              </a:ext>
            </a:extLst>
          </p:cNvPr>
          <p:cNvPicPr>
            <a:picLocks noChangeAspect="1"/>
          </p:cNvPicPr>
          <p:nvPr/>
        </p:nvPicPr>
        <p:blipFill>
          <a:blip r:embed="rId7"/>
          <a:stretch>
            <a:fillRect/>
          </a:stretch>
        </p:blipFill>
        <p:spPr>
          <a:xfrm rot="16200000">
            <a:off x="7395653" y="1640664"/>
            <a:ext cx="3360998" cy="451689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takeholder management and Trust building.</a:t>
            </a:r>
          </a:p>
          <a:p>
            <a:r>
              <a:rPr lang="en-US" sz="2000" dirty="0"/>
              <a:t>Key learning- Identifying the type of stakeholders and managing relations with them.</a:t>
            </a:r>
          </a:p>
          <a:p>
            <a:r>
              <a:rPr lang="en-US" sz="2000" dirty="0"/>
              <a:t>Planned stakeholder management and building your trust helps you progress in your professional life.</a:t>
            </a:r>
          </a:p>
          <a:p>
            <a:r>
              <a:rPr lang="en-US" sz="2000" dirty="0"/>
              <a:t>There are a number of important stakeholders we interact with in the energy sector and we need to know how to manage relations with them.</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67CA60E8-E217-9344-03A4-CA4C59058833}"/>
              </a:ext>
            </a:extLst>
          </p:cNvPr>
          <p:cNvPicPr>
            <a:picLocks noChangeAspect="1"/>
          </p:cNvPicPr>
          <p:nvPr/>
        </p:nvPicPr>
        <p:blipFill>
          <a:blip r:embed="rId7"/>
          <a:stretch>
            <a:fillRect/>
          </a:stretch>
        </p:blipFill>
        <p:spPr>
          <a:xfrm>
            <a:off x="7654341" y="2019296"/>
            <a:ext cx="2843622" cy="3759634"/>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We learnt about Agile and Business Analysis.</a:t>
            </a:r>
          </a:p>
          <a:p>
            <a:r>
              <a:rPr lang="en-US" sz="2000" dirty="0"/>
              <a:t>Requirement analysis and elicitation.</a:t>
            </a:r>
          </a:p>
          <a:p>
            <a:r>
              <a:rPr lang="en-US" sz="2000" dirty="0"/>
              <a:t>Knowing what the customer needs are is very important for the project’s success.</a:t>
            </a:r>
          </a:p>
          <a:p>
            <a:r>
              <a:rPr lang="en-US" sz="2000" dirty="0"/>
              <a:t>Requirement analysis in the energy sector is vital for ensuring projects meet specific needs, avoid risks, and support sustainability and complian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white board with a diagram&#10;&#10;Description automatically generated">
            <a:extLst>
              <a:ext uri="{FF2B5EF4-FFF2-40B4-BE49-F238E27FC236}">
                <a16:creationId xmlns:a16="http://schemas.microsoft.com/office/drawing/2014/main" id="{073E0F21-1919-6852-1A79-9EC18680988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92716" y="2151366"/>
            <a:ext cx="4766872" cy="3499819"/>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implements professionalism by stating clear expectations to their employees and training them for the same. Shell adheres ethical practices while conducting their business.</a:t>
            </a:r>
          </a:p>
          <a:p>
            <a:pPr marL="0" indent="0">
              <a:buNone/>
            </a:pPr>
            <a:endParaRPr lang="en-US" sz="2000" dirty="0"/>
          </a:p>
          <a:p>
            <a:pPr marL="0" indent="0">
              <a:buNone/>
            </a:pPr>
            <a:endParaRPr lang="en-US" sz="2000" dirty="0"/>
          </a:p>
          <a:p>
            <a:pPr marL="0" indent="0">
              <a:buNone/>
            </a:pPr>
            <a:r>
              <a:rPr lang="en-US" sz="2000" dirty="0"/>
              <a:t>Shell benefits from this as the reputation of the company is enhanced when the employee representing Shell shows professional qualitie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standing in front of a person in a suit&#10;&#10;Description automatically generated">
            <a:extLst>
              <a:ext uri="{FF2B5EF4-FFF2-40B4-BE49-F238E27FC236}">
                <a16:creationId xmlns:a16="http://schemas.microsoft.com/office/drawing/2014/main" id="{8309EE9F-CDBD-8F78-6385-E6FCAD8BDBD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06588" y="2222416"/>
            <a:ext cx="5030091" cy="3353394"/>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implements stakeholder management by making strong and positive relationships with their stakeholders through consistent and respectful interaction, collaboration and support.</a:t>
            </a:r>
          </a:p>
          <a:p>
            <a:pPr marL="0" indent="0">
              <a:buNone/>
            </a:pPr>
            <a:endParaRPr lang="en-US" sz="2000" dirty="0"/>
          </a:p>
          <a:p>
            <a:pPr marL="0" indent="0">
              <a:buNone/>
            </a:pPr>
            <a:endParaRPr lang="en-US" sz="2000" dirty="0"/>
          </a:p>
          <a:p>
            <a:pPr marL="0" indent="0">
              <a:buNone/>
            </a:pPr>
            <a:r>
              <a:rPr lang="en-US" sz="2000" dirty="0"/>
              <a:t>Shell benefits from this as planned stakeholder management leads to Informed decision making, improved communication and increased support for the compan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close-up of a document&#10;&#10;Description automatically generated">
            <a:extLst>
              <a:ext uri="{FF2B5EF4-FFF2-40B4-BE49-F238E27FC236}">
                <a16:creationId xmlns:a16="http://schemas.microsoft.com/office/drawing/2014/main" id="{153DF8E3-4BD1-5FAF-F355-960AC6AB4DB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412856" y="1981414"/>
            <a:ext cx="2876549" cy="3835398"/>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68</TotalTime>
  <Words>826</Words>
  <Application>Microsoft Office PowerPoint</Application>
  <PresentationFormat>Widescreen</PresentationFormat>
  <Paragraphs>76</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arma, Sakshi SBOBNG-PTIY/AEA</cp:lastModifiedBy>
  <cp:revision>500</cp:revision>
  <dcterms:created xsi:type="dcterms:W3CDTF">2022-01-18T12:35:56Z</dcterms:created>
  <dcterms:modified xsi:type="dcterms:W3CDTF">2024-08-30T15:1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